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6"/>
  </p:notesMasterIdLst>
  <p:handoutMasterIdLst>
    <p:handoutMasterId r:id="rId17"/>
  </p:handoutMasterIdLst>
  <p:sldIdLst>
    <p:sldId id="351" r:id="rId5"/>
    <p:sldId id="305" r:id="rId6"/>
    <p:sldId id="281" r:id="rId7"/>
    <p:sldId id="362" r:id="rId8"/>
    <p:sldId id="283" r:id="rId9"/>
    <p:sldId id="359" r:id="rId10"/>
    <p:sldId id="360" r:id="rId11"/>
    <p:sldId id="289" r:id="rId12"/>
    <p:sldId id="326" r:id="rId13"/>
    <p:sldId id="316" r:id="rId14"/>
    <p:sldId id="347" r:id="rId15"/>
  </p:sldIdLst>
  <p:sldSz cx="9144000" cy="6858000" type="screen4x3"/>
  <p:notesSz cx="6858000" cy="931386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3C3E"/>
    <a:srgbClr val="2A2D31"/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575708-91E0-4439-99BA-AF625E1A25D1}" v="32" dt="2020-03-27T18:20:46.689"/>
    <p1510:client id="{6422336D-544A-46AE-995A-5DFFC5AA5F07}" v="58" dt="2020-03-27T16:31:17.4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5" autoAdjust="0"/>
    <p:restoredTop sz="94249" autoAdjust="0"/>
  </p:normalViewPr>
  <p:slideViewPr>
    <p:cSldViewPr snapToGrid="0">
      <p:cViewPr>
        <p:scale>
          <a:sx n="60" d="100"/>
          <a:sy n="60" d="100"/>
        </p:scale>
        <p:origin x="1638" y="336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6422336D-544A-46AE-995A-5DFFC5AA5F07}"/>
    <pc:docChg chg="undo custSel addSld delSld modSld">
      <pc:chgData name="Christina Shaw" userId="14dc42a2-bfa6-4b75-b011-e3e8d16be8df" providerId="ADAL" clId="{6422336D-544A-46AE-995A-5DFFC5AA5F07}" dt="2020-03-27T16:33:21.625" v="240" actId="1035"/>
      <pc:docMkLst>
        <pc:docMk/>
      </pc:docMkLst>
      <pc:sldChg chg="del">
        <pc:chgData name="Christina Shaw" userId="14dc42a2-bfa6-4b75-b011-e3e8d16be8df" providerId="ADAL" clId="{6422336D-544A-46AE-995A-5DFFC5AA5F07}" dt="2020-03-27T16:15:48.413" v="6" actId="2696"/>
        <pc:sldMkLst>
          <pc:docMk/>
          <pc:sldMk cId="470610658" sldId="283"/>
        </pc:sldMkLst>
      </pc:sldChg>
      <pc:sldChg chg="del">
        <pc:chgData name="Christina Shaw" userId="14dc42a2-bfa6-4b75-b011-e3e8d16be8df" providerId="ADAL" clId="{6422336D-544A-46AE-995A-5DFFC5AA5F07}" dt="2020-03-27T16:16:31.185" v="15" actId="2696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6422336D-544A-46AE-995A-5DFFC5AA5F07}" dt="2020-03-27T16:16:18.419" v="13" actId="2696"/>
        <pc:sldMkLst>
          <pc:docMk/>
          <pc:sldMk cId="1064688117" sldId="348"/>
        </pc:sldMkLst>
      </pc:sldChg>
      <pc:sldChg chg="del">
        <pc:chgData name="Christina Shaw" userId="14dc42a2-bfa6-4b75-b011-e3e8d16be8df" providerId="ADAL" clId="{6422336D-544A-46AE-995A-5DFFC5AA5F07}" dt="2020-03-27T16:16:13.043" v="10" actId="2696"/>
        <pc:sldMkLst>
          <pc:docMk/>
          <pc:sldMk cId="2838732225" sldId="349"/>
        </pc:sldMkLst>
      </pc:sldChg>
      <pc:sldChg chg="del">
        <pc:chgData name="Christina Shaw" userId="14dc42a2-bfa6-4b75-b011-e3e8d16be8df" providerId="ADAL" clId="{6422336D-544A-46AE-995A-5DFFC5AA5F07}" dt="2020-03-27T16:15:36.829" v="2" actId="2696"/>
        <pc:sldMkLst>
          <pc:docMk/>
          <pc:sldMk cId="3193242412" sldId="351"/>
        </pc:sldMkLst>
      </pc:sldChg>
      <pc:sldChg chg="modSp add">
        <pc:chgData name="Christina Shaw" userId="14dc42a2-bfa6-4b75-b011-e3e8d16be8df" providerId="ADAL" clId="{6422336D-544A-46AE-995A-5DFFC5AA5F07}" dt="2020-03-27T16:15:33.309" v="1" actId="27636"/>
        <pc:sldMkLst>
          <pc:docMk/>
          <pc:sldMk cId="3138815734" sldId="357"/>
        </pc:sldMkLst>
        <pc:spChg chg="mod">
          <ac:chgData name="Christina Shaw" userId="14dc42a2-bfa6-4b75-b011-e3e8d16be8df" providerId="ADAL" clId="{6422336D-544A-46AE-995A-5DFFC5AA5F07}" dt="2020-03-27T16:15:33.309" v="1" actId="27636"/>
          <ac:spMkLst>
            <pc:docMk/>
            <pc:sldMk cId="3138815734" sldId="357"/>
            <ac:spMk id="3" creationId="{00000000-0000-0000-0000-000000000000}"/>
          </ac:spMkLst>
        </pc:spChg>
      </pc:sldChg>
      <pc:sldChg chg="modSp add">
        <pc:chgData name="Christina Shaw" userId="14dc42a2-bfa6-4b75-b011-e3e8d16be8df" providerId="ADAL" clId="{6422336D-544A-46AE-995A-5DFFC5AA5F07}" dt="2020-03-27T16:15:53.249" v="7" actId="13926"/>
        <pc:sldMkLst>
          <pc:docMk/>
          <pc:sldMk cId="248812539" sldId="358"/>
        </pc:sldMkLst>
        <pc:spChg chg="mod">
          <ac:chgData name="Christina Shaw" userId="14dc42a2-bfa6-4b75-b011-e3e8d16be8df" providerId="ADAL" clId="{6422336D-544A-46AE-995A-5DFFC5AA5F07}" dt="2020-03-27T16:15:46.055" v="5" actId="27636"/>
          <ac:spMkLst>
            <pc:docMk/>
            <pc:sldMk cId="248812539" sldId="358"/>
            <ac:spMk id="2" creationId="{A31E94E2-470C-4A7D-9CB1-8B37CF0BFBBF}"/>
          </ac:spMkLst>
        </pc:spChg>
        <pc:spChg chg="mod">
          <ac:chgData name="Christina Shaw" userId="14dc42a2-bfa6-4b75-b011-e3e8d16be8df" providerId="ADAL" clId="{6422336D-544A-46AE-995A-5DFFC5AA5F07}" dt="2020-03-27T16:15:53.249" v="7" actId="13926"/>
          <ac:spMkLst>
            <pc:docMk/>
            <pc:sldMk cId="248812539" sldId="358"/>
            <ac:spMk id="3" creationId="{1BD9FD14-771E-4073-9004-1C04AA2C340D}"/>
          </ac:spMkLst>
        </pc:spChg>
      </pc:sldChg>
      <pc:sldChg chg="addSp delSp modSp add modNotesTx">
        <pc:chgData name="Christina Shaw" userId="14dc42a2-bfa6-4b75-b011-e3e8d16be8df" providerId="ADAL" clId="{6422336D-544A-46AE-995A-5DFFC5AA5F07}" dt="2020-03-27T16:33:21.625" v="240" actId="1035"/>
        <pc:sldMkLst>
          <pc:docMk/>
          <pc:sldMk cId="3107519489" sldId="359"/>
        </pc:sldMkLst>
        <pc:spChg chg="mod">
          <ac:chgData name="Christina Shaw" userId="14dc42a2-bfa6-4b75-b011-e3e8d16be8df" providerId="ADAL" clId="{6422336D-544A-46AE-995A-5DFFC5AA5F07}" dt="2020-03-27T16:16:02.657" v="9" actId="27636"/>
          <ac:spMkLst>
            <pc:docMk/>
            <pc:sldMk cId="3107519489" sldId="359"/>
            <ac:spMk id="2" creationId="{A31E94E2-470C-4A7D-9CB1-8B37CF0BFBBF}"/>
          </ac:spMkLst>
        </pc:spChg>
        <pc:spChg chg="add del mod">
          <ac:chgData name="Christina Shaw" userId="14dc42a2-bfa6-4b75-b011-e3e8d16be8df" providerId="ADAL" clId="{6422336D-544A-46AE-995A-5DFFC5AA5F07}" dt="2020-03-27T16:21:02.745" v="48" actId="478"/>
          <ac:spMkLst>
            <pc:docMk/>
            <pc:sldMk cId="3107519489" sldId="359"/>
            <ac:spMk id="3" creationId="{1FFC40C6-BA41-479D-B26F-3BDB1F33BF70}"/>
          </ac:spMkLst>
        </pc:spChg>
        <pc:spChg chg="add mod">
          <ac:chgData name="Christina Shaw" userId="14dc42a2-bfa6-4b75-b011-e3e8d16be8df" providerId="ADAL" clId="{6422336D-544A-46AE-995A-5DFFC5AA5F07}" dt="2020-03-27T16:21:27.599" v="53" actId="207"/>
          <ac:spMkLst>
            <pc:docMk/>
            <pc:sldMk cId="3107519489" sldId="359"/>
            <ac:spMk id="7" creationId="{577FEBC7-9B7A-428F-826E-1956BCED482F}"/>
          </ac:spMkLst>
        </pc:spChg>
        <pc:spChg chg="add mod">
          <ac:chgData name="Christina Shaw" userId="14dc42a2-bfa6-4b75-b011-e3e8d16be8df" providerId="ADAL" clId="{6422336D-544A-46AE-995A-5DFFC5AA5F07}" dt="2020-03-27T16:21:51.049" v="59" actId="404"/>
          <ac:spMkLst>
            <pc:docMk/>
            <pc:sldMk cId="3107519489" sldId="359"/>
            <ac:spMk id="8" creationId="{01964296-290D-4E0B-8433-B611615D56FF}"/>
          </ac:spMkLst>
        </pc:spChg>
        <pc:spChg chg="add mod">
          <ac:chgData name="Christina Shaw" userId="14dc42a2-bfa6-4b75-b011-e3e8d16be8df" providerId="ADAL" clId="{6422336D-544A-46AE-995A-5DFFC5AA5F07}" dt="2020-03-27T16:32:11.797" v="196" actId="113"/>
          <ac:spMkLst>
            <pc:docMk/>
            <pc:sldMk cId="3107519489" sldId="359"/>
            <ac:spMk id="9" creationId="{A2F92481-AE33-45AD-8CA4-62E0D863424B}"/>
          </ac:spMkLst>
        </pc:spChg>
        <pc:spChg chg="add del">
          <ac:chgData name="Christina Shaw" userId="14dc42a2-bfa6-4b75-b011-e3e8d16be8df" providerId="ADAL" clId="{6422336D-544A-46AE-995A-5DFFC5AA5F07}" dt="2020-03-27T16:22:13.733" v="65"/>
          <ac:spMkLst>
            <pc:docMk/>
            <pc:sldMk cId="3107519489" sldId="359"/>
            <ac:spMk id="10" creationId="{925C2B3D-89D8-4B8F-850A-DEADE2A9C0A2}"/>
          </ac:spMkLst>
        </pc:spChg>
        <pc:spChg chg="add del">
          <ac:chgData name="Christina Shaw" userId="14dc42a2-bfa6-4b75-b011-e3e8d16be8df" providerId="ADAL" clId="{6422336D-544A-46AE-995A-5DFFC5AA5F07}" dt="2020-03-27T16:22:19.600" v="67"/>
          <ac:spMkLst>
            <pc:docMk/>
            <pc:sldMk cId="3107519489" sldId="359"/>
            <ac:spMk id="11" creationId="{C68D5B1C-B161-4662-BDFA-2A318922FFFA}"/>
          </ac:spMkLst>
        </pc:spChg>
        <pc:spChg chg="add mod">
          <ac:chgData name="Christina Shaw" userId="14dc42a2-bfa6-4b75-b011-e3e8d16be8df" providerId="ADAL" clId="{6422336D-544A-46AE-995A-5DFFC5AA5F07}" dt="2020-03-27T16:32:28.526" v="205" actId="113"/>
          <ac:spMkLst>
            <pc:docMk/>
            <pc:sldMk cId="3107519489" sldId="359"/>
            <ac:spMk id="12" creationId="{E2F2D641-78C6-41CC-821F-EB294C36BC1F}"/>
          </ac:spMkLst>
        </pc:spChg>
        <pc:spChg chg="add mod">
          <ac:chgData name="Christina Shaw" userId="14dc42a2-bfa6-4b75-b011-e3e8d16be8df" providerId="ADAL" clId="{6422336D-544A-46AE-995A-5DFFC5AA5F07}" dt="2020-03-27T16:32:37.086" v="209" actId="14100"/>
          <ac:spMkLst>
            <pc:docMk/>
            <pc:sldMk cId="3107519489" sldId="359"/>
            <ac:spMk id="13" creationId="{F5D040AC-923B-4613-8DFB-8B87F08FAFAF}"/>
          </ac:spMkLst>
        </pc:spChg>
        <pc:spChg chg="add mod">
          <ac:chgData name="Christina Shaw" userId="14dc42a2-bfa6-4b75-b011-e3e8d16be8df" providerId="ADAL" clId="{6422336D-544A-46AE-995A-5DFFC5AA5F07}" dt="2020-03-27T16:32:51.663" v="214" actId="1037"/>
          <ac:spMkLst>
            <pc:docMk/>
            <pc:sldMk cId="3107519489" sldId="359"/>
            <ac:spMk id="14" creationId="{BCAA4484-7588-4511-9C76-C4717C2383BB}"/>
          </ac:spMkLst>
        </pc:spChg>
        <pc:spChg chg="add mod">
          <ac:chgData name="Christina Shaw" userId="14dc42a2-bfa6-4b75-b011-e3e8d16be8df" providerId="ADAL" clId="{6422336D-544A-46AE-995A-5DFFC5AA5F07}" dt="2020-03-27T16:24:57.684" v="95" actId="404"/>
          <ac:spMkLst>
            <pc:docMk/>
            <pc:sldMk cId="3107519489" sldId="359"/>
            <ac:spMk id="15" creationId="{65DF17A8-A2A2-4DFC-81C2-AF5DE8C0ECF8}"/>
          </ac:spMkLst>
        </pc:spChg>
        <pc:spChg chg="add mod">
          <ac:chgData name="Christina Shaw" userId="14dc42a2-bfa6-4b75-b011-e3e8d16be8df" providerId="ADAL" clId="{6422336D-544A-46AE-995A-5DFFC5AA5F07}" dt="2020-03-27T16:25:13.140" v="98"/>
          <ac:spMkLst>
            <pc:docMk/>
            <pc:sldMk cId="3107519489" sldId="359"/>
            <ac:spMk id="16" creationId="{56313C0A-357B-410A-882C-1A5207CB7171}"/>
          </ac:spMkLst>
        </pc:spChg>
        <pc:spChg chg="add mod">
          <ac:chgData name="Christina Shaw" userId="14dc42a2-bfa6-4b75-b011-e3e8d16be8df" providerId="ADAL" clId="{6422336D-544A-46AE-995A-5DFFC5AA5F07}" dt="2020-03-27T16:25:55.639" v="105" actId="14100"/>
          <ac:spMkLst>
            <pc:docMk/>
            <pc:sldMk cId="3107519489" sldId="359"/>
            <ac:spMk id="17" creationId="{A9792A3B-2EDC-4E78-8FEB-298F80AA0978}"/>
          </ac:spMkLst>
        </pc:spChg>
        <pc:spChg chg="add mod">
          <ac:chgData name="Christina Shaw" userId="14dc42a2-bfa6-4b75-b011-e3e8d16be8df" providerId="ADAL" clId="{6422336D-544A-46AE-995A-5DFFC5AA5F07}" dt="2020-03-27T16:33:21.625" v="240" actId="1035"/>
          <ac:spMkLst>
            <pc:docMk/>
            <pc:sldMk cId="3107519489" sldId="359"/>
            <ac:spMk id="18" creationId="{5A2ED637-76EC-410F-BEBA-6BF5C3D46FDA}"/>
          </ac:spMkLst>
        </pc:spChg>
        <pc:spChg chg="add mod">
          <ac:chgData name="Christina Shaw" userId="14dc42a2-bfa6-4b75-b011-e3e8d16be8df" providerId="ADAL" clId="{6422336D-544A-46AE-995A-5DFFC5AA5F07}" dt="2020-03-27T16:33:17.007" v="236" actId="1035"/>
          <ac:spMkLst>
            <pc:docMk/>
            <pc:sldMk cId="3107519489" sldId="359"/>
            <ac:spMk id="19" creationId="{24293566-A674-4D9D-A04B-C7300BB279B2}"/>
          </ac:spMkLst>
        </pc:spChg>
        <pc:spChg chg="add del mod">
          <ac:chgData name="Christina Shaw" userId="14dc42a2-bfa6-4b75-b011-e3e8d16be8df" providerId="ADAL" clId="{6422336D-544A-46AE-995A-5DFFC5AA5F07}" dt="2020-03-27T16:28:17.413" v="147" actId="11529"/>
          <ac:spMkLst>
            <pc:docMk/>
            <pc:sldMk cId="3107519489" sldId="359"/>
            <ac:spMk id="20" creationId="{BEED2666-FBAE-4A73-8E43-7329AAC73D2A}"/>
          </ac:spMkLst>
        </pc:spChg>
        <pc:spChg chg="add mod">
          <ac:chgData name="Christina Shaw" userId="14dc42a2-bfa6-4b75-b011-e3e8d16be8df" providerId="ADAL" clId="{6422336D-544A-46AE-995A-5DFFC5AA5F07}" dt="2020-03-27T16:28:32.778" v="151" actId="1076"/>
          <ac:spMkLst>
            <pc:docMk/>
            <pc:sldMk cId="3107519489" sldId="359"/>
            <ac:spMk id="21" creationId="{7D268923-1EE0-46D5-B7B0-7DA4774505CC}"/>
          </ac:spMkLst>
        </pc:spChg>
        <pc:spChg chg="add mod">
          <ac:chgData name="Christina Shaw" userId="14dc42a2-bfa6-4b75-b011-e3e8d16be8df" providerId="ADAL" clId="{6422336D-544A-46AE-995A-5DFFC5AA5F07}" dt="2020-03-27T16:28:37.087" v="153" actId="1076"/>
          <ac:spMkLst>
            <pc:docMk/>
            <pc:sldMk cId="3107519489" sldId="359"/>
            <ac:spMk id="22" creationId="{BB1F990E-86A5-4916-8C09-8F22831DFC9F}"/>
          </ac:spMkLst>
        </pc:spChg>
        <pc:picChg chg="mod">
          <ac:chgData name="Christina Shaw" userId="14dc42a2-bfa6-4b75-b011-e3e8d16be8df" providerId="ADAL" clId="{6422336D-544A-46AE-995A-5DFFC5AA5F07}" dt="2020-03-27T16:23:46.302" v="84" actId="1076"/>
          <ac:picMkLst>
            <pc:docMk/>
            <pc:sldMk cId="3107519489" sldId="359"/>
            <ac:picMk id="4" creationId="{9B8FE341-62BB-4D3D-B6B2-BF11142C24EA}"/>
          </ac:picMkLst>
        </pc:picChg>
      </pc:sldChg>
      <pc:sldChg chg="addSp modSp add">
        <pc:chgData name="Christina Shaw" userId="14dc42a2-bfa6-4b75-b011-e3e8d16be8df" providerId="ADAL" clId="{6422336D-544A-46AE-995A-5DFFC5AA5F07}" dt="2020-03-27T16:32:03.780" v="194" actId="14100"/>
        <pc:sldMkLst>
          <pc:docMk/>
          <pc:sldMk cId="1498434432" sldId="360"/>
        </pc:sldMkLst>
        <pc:spChg chg="mod">
          <ac:chgData name="Christina Shaw" userId="14dc42a2-bfa6-4b75-b011-e3e8d16be8df" providerId="ADAL" clId="{6422336D-544A-46AE-995A-5DFFC5AA5F07}" dt="2020-03-27T16:16:15.081" v="12" actId="27636"/>
          <ac:spMkLst>
            <pc:docMk/>
            <pc:sldMk cId="1498434432" sldId="360"/>
            <ac:spMk id="2" creationId="{A31E94E2-470C-4A7D-9CB1-8B37CF0BFBBF}"/>
          </ac:spMkLst>
        </pc:spChg>
        <pc:spChg chg="mod">
          <ac:chgData name="Christina Shaw" userId="14dc42a2-bfa6-4b75-b011-e3e8d16be8df" providerId="ADAL" clId="{6422336D-544A-46AE-995A-5DFFC5AA5F07}" dt="2020-03-27T16:29:19.710" v="158" actId="14100"/>
          <ac:spMkLst>
            <pc:docMk/>
            <pc:sldMk cId="1498434432" sldId="360"/>
            <ac:spMk id="3" creationId="{1BD9FD14-771E-4073-9004-1C04AA2C340D}"/>
          </ac:spMkLst>
        </pc:spChg>
        <pc:spChg chg="add mod">
          <ac:chgData name="Christina Shaw" userId="14dc42a2-bfa6-4b75-b011-e3e8d16be8df" providerId="ADAL" clId="{6422336D-544A-46AE-995A-5DFFC5AA5F07}" dt="2020-03-27T16:29:31.484" v="161" actId="14100"/>
          <ac:spMkLst>
            <pc:docMk/>
            <pc:sldMk cId="1498434432" sldId="360"/>
            <ac:spMk id="7" creationId="{7AFAEDE4-F581-4010-A92D-854FED56AF4A}"/>
          </ac:spMkLst>
        </pc:spChg>
        <pc:spChg chg="add mod">
          <ac:chgData name="Christina Shaw" userId="14dc42a2-bfa6-4b75-b011-e3e8d16be8df" providerId="ADAL" clId="{6422336D-544A-46AE-995A-5DFFC5AA5F07}" dt="2020-03-27T16:30:16.528" v="168"/>
          <ac:spMkLst>
            <pc:docMk/>
            <pc:sldMk cId="1498434432" sldId="360"/>
            <ac:spMk id="8" creationId="{3DD1AED2-E716-456D-A0F0-8D93E8F11F95}"/>
          </ac:spMkLst>
        </pc:spChg>
        <pc:spChg chg="add mod">
          <ac:chgData name="Christina Shaw" userId="14dc42a2-bfa6-4b75-b011-e3e8d16be8df" providerId="ADAL" clId="{6422336D-544A-46AE-995A-5DFFC5AA5F07}" dt="2020-03-27T16:31:58.224" v="193" actId="1037"/>
          <ac:spMkLst>
            <pc:docMk/>
            <pc:sldMk cId="1498434432" sldId="360"/>
            <ac:spMk id="9" creationId="{22BE2EC5-5703-4177-9FF5-F36289027A4B}"/>
          </ac:spMkLst>
        </pc:spChg>
        <pc:spChg chg="add mod">
          <ac:chgData name="Christina Shaw" userId="14dc42a2-bfa6-4b75-b011-e3e8d16be8df" providerId="ADAL" clId="{6422336D-544A-46AE-995A-5DFFC5AA5F07}" dt="2020-03-27T16:31:28.645" v="184" actId="403"/>
          <ac:spMkLst>
            <pc:docMk/>
            <pc:sldMk cId="1498434432" sldId="360"/>
            <ac:spMk id="10" creationId="{416C45F6-01CD-409D-87E2-BBC79B23C382}"/>
          </ac:spMkLst>
        </pc:spChg>
        <pc:spChg chg="add mod">
          <ac:chgData name="Christina Shaw" userId="14dc42a2-bfa6-4b75-b011-e3e8d16be8df" providerId="ADAL" clId="{6422336D-544A-46AE-995A-5DFFC5AA5F07}" dt="2020-03-27T16:32:03.780" v="194" actId="14100"/>
          <ac:spMkLst>
            <pc:docMk/>
            <pc:sldMk cId="1498434432" sldId="360"/>
            <ac:spMk id="11" creationId="{03CFCA8C-1642-4362-952D-8B92DC70D2E0}"/>
          </ac:spMkLst>
        </pc:spChg>
      </pc:sldChg>
      <pc:sldChg chg="modSp add">
        <pc:chgData name="Christina Shaw" userId="14dc42a2-bfa6-4b75-b011-e3e8d16be8df" providerId="ADAL" clId="{6422336D-544A-46AE-995A-5DFFC5AA5F07}" dt="2020-03-27T16:16:34.419" v="16" actId="13926"/>
        <pc:sldMkLst>
          <pc:docMk/>
          <pc:sldMk cId="3811985841" sldId="361"/>
        </pc:sldMkLst>
        <pc:spChg chg="mod">
          <ac:chgData name="Christina Shaw" userId="14dc42a2-bfa6-4b75-b011-e3e8d16be8df" providerId="ADAL" clId="{6422336D-544A-46AE-995A-5DFFC5AA5F07}" dt="2020-03-27T16:16:34.419" v="16" actId="13926"/>
          <ac:spMkLst>
            <pc:docMk/>
            <pc:sldMk cId="3811985841" sldId="361"/>
            <ac:spMk id="3" creationId="{21247B2E-2AF4-4404-B545-6DB60DA225E7}"/>
          </ac:spMkLst>
        </pc:spChg>
      </pc:sldChg>
    </pc:docChg>
  </pc:docChgLst>
  <pc:docChgLst>
    <pc:chgData name="Christina Shaw" userId="14dc42a2-bfa6-4b75-b011-e3e8d16be8df" providerId="ADAL" clId="{7EF36FDA-5798-4623-9158-AF80DEE709A0}"/>
    <pc:docChg chg="modSld">
      <pc:chgData name="Christina Shaw" userId="14dc42a2-bfa6-4b75-b011-e3e8d16be8df" providerId="ADAL" clId="{7EF36FDA-5798-4623-9158-AF80DEE709A0}" dt="2020-03-09T15:43:00.820" v="0" actId="13926"/>
      <pc:docMkLst>
        <pc:docMk/>
      </pc:docMkLst>
      <pc:sldChg chg="modSp">
        <pc:chgData name="Christina Shaw" userId="14dc42a2-bfa6-4b75-b011-e3e8d16be8df" providerId="ADAL" clId="{7EF36FDA-5798-4623-9158-AF80DEE709A0}" dt="2020-03-09T15:43:00.820" v="0" actId="13926"/>
        <pc:sldMkLst>
          <pc:docMk/>
          <pc:sldMk cId="3193242412" sldId="351"/>
        </pc:sldMkLst>
        <pc:spChg chg="mod">
          <ac:chgData name="Christina Shaw" userId="14dc42a2-bfa6-4b75-b011-e3e8d16be8df" providerId="ADAL" clId="{7EF36FDA-5798-4623-9158-AF80DEE709A0}" dt="2020-03-09T15:43:00.820" v="0" actId="13926"/>
          <ac:spMkLst>
            <pc:docMk/>
            <pc:sldMk cId="3193242412" sldId="351"/>
            <ac:spMk id="3" creationId="{00000000-0000-0000-0000-000000000000}"/>
          </ac:spMkLst>
        </pc:spChg>
      </pc:sldChg>
    </pc:docChg>
  </pc:docChgLst>
  <pc:docChgLst>
    <pc:chgData name="Christina Shaw" userId="14dc42a2-bfa6-4b75-b011-e3e8d16be8df" providerId="ADAL" clId="{13575708-91E0-4439-99BA-AF625E1A25D1}"/>
    <pc:docChg chg="undo custSel addSld delSld modSld">
      <pc:chgData name="Christina Shaw" userId="14dc42a2-bfa6-4b75-b011-e3e8d16be8df" providerId="ADAL" clId="{13575708-91E0-4439-99BA-AF625E1A25D1}" dt="2020-03-27T18:20:49.669" v="84" actId="2696"/>
      <pc:docMkLst>
        <pc:docMk/>
      </pc:docMkLst>
      <pc:sldChg chg="add">
        <pc:chgData name="Christina Shaw" userId="14dc42a2-bfa6-4b75-b011-e3e8d16be8df" providerId="ADAL" clId="{13575708-91E0-4439-99BA-AF625E1A25D1}" dt="2020-03-27T18:10:37.746" v="5"/>
        <pc:sldMkLst>
          <pc:docMk/>
          <pc:sldMk cId="4161316538" sldId="281"/>
        </pc:sldMkLst>
      </pc:sldChg>
      <pc:sldChg chg="modSp add">
        <pc:chgData name="Christina Shaw" userId="14dc42a2-bfa6-4b75-b011-e3e8d16be8df" providerId="ADAL" clId="{13575708-91E0-4439-99BA-AF625E1A25D1}" dt="2020-03-27T18:11:39.123" v="12" actId="13926"/>
        <pc:sldMkLst>
          <pc:docMk/>
          <pc:sldMk cId="470610658" sldId="283"/>
        </pc:sldMkLst>
        <pc:spChg chg="mod">
          <ac:chgData name="Christina Shaw" userId="14dc42a2-bfa6-4b75-b011-e3e8d16be8df" providerId="ADAL" clId="{13575708-91E0-4439-99BA-AF625E1A25D1}" dt="2020-03-27T18:11:35.013" v="11" actId="20577"/>
          <ac:spMkLst>
            <pc:docMk/>
            <pc:sldMk cId="470610658" sldId="283"/>
            <ac:spMk id="2" creationId="{A31E94E2-470C-4A7D-9CB1-8B37CF0BFBBF}"/>
          </ac:spMkLst>
        </pc:spChg>
        <pc:spChg chg="mod">
          <ac:chgData name="Christina Shaw" userId="14dc42a2-bfa6-4b75-b011-e3e8d16be8df" providerId="ADAL" clId="{13575708-91E0-4439-99BA-AF625E1A25D1}" dt="2020-03-27T18:11:39.123" v="12" actId="13926"/>
          <ac:spMkLst>
            <pc:docMk/>
            <pc:sldMk cId="470610658" sldId="283"/>
            <ac:spMk id="3" creationId="{1BD9FD14-771E-4073-9004-1C04AA2C340D}"/>
          </ac:spMkLst>
        </pc:spChg>
      </pc:sldChg>
      <pc:sldChg chg="add">
        <pc:chgData name="Christina Shaw" userId="14dc42a2-bfa6-4b75-b011-e3e8d16be8df" providerId="ADAL" clId="{13575708-91E0-4439-99BA-AF625E1A25D1}" dt="2020-03-27T18:12:55.981" v="22"/>
        <pc:sldMkLst>
          <pc:docMk/>
          <pc:sldMk cId="2246132592" sldId="289"/>
        </pc:sldMkLst>
      </pc:sldChg>
      <pc:sldChg chg="add">
        <pc:chgData name="Christina Shaw" userId="14dc42a2-bfa6-4b75-b011-e3e8d16be8df" providerId="ADAL" clId="{13575708-91E0-4439-99BA-AF625E1A25D1}" dt="2020-03-27T18:10:14.133" v="3"/>
        <pc:sldMkLst>
          <pc:docMk/>
          <pc:sldMk cId="3095954908" sldId="305"/>
        </pc:sldMkLst>
      </pc:sldChg>
      <pc:sldChg chg="modSp add">
        <pc:chgData name="Christina Shaw" userId="14dc42a2-bfa6-4b75-b011-e3e8d16be8df" providerId="ADAL" clId="{13575708-91E0-4439-99BA-AF625E1A25D1}" dt="2020-03-27T18:14:25.485" v="30" actId="14100"/>
        <pc:sldMkLst>
          <pc:docMk/>
          <pc:sldMk cId="661762385" sldId="316"/>
        </pc:sldMkLst>
        <pc:graphicFrameChg chg="mod modGraphic">
          <ac:chgData name="Christina Shaw" userId="14dc42a2-bfa6-4b75-b011-e3e8d16be8df" providerId="ADAL" clId="{13575708-91E0-4439-99BA-AF625E1A25D1}" dt="2020-03-27T18:14:25.485" v="30" actId="14100"/>
          <ac:graphicFrameMkLst>
            <pc:docMk/>
            <pc:sldMk cId="661762385" sldId="316"/>
            <ac:graphicFrameMk id="6" creationId="{F626D1D3-5C32-46A4-BCA3-370B805395BA}"/>
          </ac:graphicFrameMkLst>
        </pc:graphicFrameChg>
      </pc:sldChg>
      <pc:sldChg chg="del">
        <pc:chgData name="Christina Shaw" userId="14dc42a2-bfa6-4b75-b011-e3e8d16be8df" providerId="ADAL" clId="{13575708-91E0-4439-99BA-AF625E1A25D1}" dt="2020-03-27T18:10:58.687" v="8" actId="2696"/>
        <pc:sldMkLst>
          <pc:docMk/>
          <pc:sldMk cId="3691916775" sldId="319"/>
        </pc:sldMkLst>
      </pc:sldChg>
      <pc:sldChg chg="add">
        <pc:chgData name="Christina Shaw" userId="14dc42a2-bfa6-4b75-b011-e3e8d16be8df" providerId="ADAL" clId="{13575708-91E0-4439-99BA-AF625E1A25D1}" dt="2020-03-27T18:13:06.210" v="24"/>
        <pc:sldMkLst>
          <pc:docMk/>
          <pc:sldMk cId="1974371553" sldId="326"/>
        </pc:sldMkLst>
      </pc:sldChg>
      <pc:sldChg chg="add">
        <pc:chgData name="Christina Shaw" userId="14dc42a2-bfa6-4b75-b011-e3e8d16be8df" providerId="ADAL" clId="{13575708-91E0-4439-99BA-AF625E1A25D1}" dt="2020-03-27T18:14:35.835" v="31"/>
        <pc:sldMkLst>
          <pc:docMk/>
          <pc:sldMk cId="3331790994" sldId="347"/>
        </pc:sldMkLst>
      </pc:sldChg>
      <pc:sldChg chg="add del">
        <pc:chgData name="Christina Shaw" userId="14dc42a2-bfa6-4b75-b011-e3e8d16be8df" providerId="ADAL" clId="{13575708-91E0-4439-99BA-AF625E1A25D1}" dt="2020-03-27T18:19:40.986" v="68" actId="2696"/>
        <pc:sldMkLst>
          <pc:docMk/>
          <pc:sldMk cId="2838732225" sldId="349"/>
        </pc:sldMkLst>
      </pc:sldChg>
      <pc:sldChg chg="modSp add">
        <pc:chgData name="Christina Shaw" userId="14dc42a2-bfa6-4b75-b011-e3e8d16be8df" providerId="ADAL" clId="{13575708-91E0-4439-99BA-AF625E1A25D1}" dt="2020-03-27T18:09:56.720" v="1" actId="27636"/>
        <pc:sldMkLst>
          <pc:docMk/>
          <pc:sldMk cId="3193242412" sldId="351"/>
        </pc:sldMkLst>
        <pc:spChg chg="mod">
          <ac:chgData name="Christina Shaw" userId="14dc42a2-bfa6-4b75-b011-e3e8d16be8df" providerId="ADAL" clId="{13575708-91E0-4439-99BA-AF625E1A25D1}" dt="2020-03-27T18:09:56.720" v="1" actId="27636"/>
          <ac:spMkLst>
            <pc:docMk/>
            <pc:sldMk cId="3193242412" sldId="351"/>
            <ac:spMk id="3" creationId="{00000000-0000-0000-0000-000000000000}"/>
          </ac:spMkLst>
        </pc:spChg>
      </pc:sldChg>
      <pc:sldChg chg="del">
        <pc:chgData name="Christina Shaw" userId="14dc42a2-bfa6-4b75-b011-e3e8d16be8df" providerId="ADAL" clId="{13575708-91E0-4439-99BA-AF625E1A25D1}" dt="2020-03-27T18:10:16.842" v="4" actId="2696"/>
        <pc:sldMkLst>
          <pc:docMk/>
          <pc:sldMk cId="1968350241" sldId="352"/>
        </pc:sldMkLst>
      </pc:sldChg>
      <pc:sldChg chg="del">
        <pc:chgData name="Christina Shaw" userId="14dc42a2-bfa6-4b75-b011-e3e8d16be8df" providerId="ADAL" clId="{13575708-91E0-4439-99BA-AF625E1A25D1}" dt="2020-03-27T18:10:41.675" v="6" actId="2696"/>
        <pc:sldMkLst>
          <pc:docMk/>
          <pc:sldMk cId="2254317436" sldId="353"/>
        </pc:sldMkLst>
      </pc:sldChg>
      <pc:sldChg chg="del">
        <pc:chgData name="Christina Shaw" userId="14dc42a2-bfa6-4b75-b011-e3e8d16be8df" providerId="ADAL" clId="{13575708-91E0-4439-99BA-AF625E1A25D1}" dt="2020-03-27T18:12:58.679" v="23" actId="2696"/>
        <pc:sldMkLst>
          <pc:docMk/>
          <pc:sldMk cId="3646874875" sldId="354"/>
        </pc:sldMkLst>
      </pc:sldChg>
      <pc:sldChg chg="del">
        <pc:chgData name="Christina Shaw" userId="14dc42a2-bfa6-4b75-b011-e3e8d16be8df" providerId="ADAL" clId="{13575708-91E0-4439-99BA-AF625E1A25D1}" dt="2020-03-27T18:13:08.847" v="25" actId="2696"/>
        <pc:sldMkLst>
          <pc:docMk/>
          <pc:sldMk cId="2796220218" sldId="355"/>
        </pc:sldMkLst>
      </pc:sldChg>
      <pc:sldChg chg="del">
        <pc:chgData name="Christina Shaw" userId="14dc42a2-bfa6-4b75-b011-e3e8d16be8df" providerId="ADAL" clId="{13575708-91E0-4439-99BA-AF625E1A25D1}" dt="2020-03-27T18:14:22.273" v="29" actId="2696"/>
        <pc:sldMkLst>
          <pc:docMk/>
          <pc:sldMk cId="194163527" sldId="356"/>
        </pc:sldMkLst>
      </pc:sldChg>
      <pc:sldChg chg="del">
        <pc:chgData name="Christina Shaw" userId="14dc42a2-bfa6-4b75-b011-e3e8d16be8df" providerId="ADAL" clId="{13575708-91E0-4439-99BA-AF625E1A25D1}" dt="2020-03-27T18:09:59.107" v="2" actId="2696"/>
        <pc:sldMkLst>
          <pc:docMk/>
          <pc:sldMk cId="3138815734" sldId="357"/>
        </pc:sldMkLst>
      </pc:sldChg>
      <pc:sldChg chg="del">
        <pc:chgData name="Christina Shaw" userId="14dc42a2-bfa6-4b75-b011-e3e8d16be8df" providerId="ADAL" clId="{13575708-91E0-4439-99BA-AF625E1A25D1}" dt="2020-03-27T18:11:33.176" v="10" actId="2696"/>
        <pc:sldMkLst>
          <pc:docMk/>
          <pc:sldMk cId="248812539" sldId="358"/>
        </pc:sldMkLst>
      </pc:sldChg>
      <pc:sldChg chg="modSp add del">
        <pc:chgData name="Christina Shaw" userId="14dc42a2-bfa6-4b75-b011-e3e8d16be8df" providerId="ADAL" clId="{13575708-91E0-4439-99BA-AF625E1A25D1}" dt="2020-03-27T18:19:34.259" v="67" actId="14100"/>
        <pc:sldMkLst>
          <pc:docMk/>
          <pc:sldMk cId="3107519489" sldId="359"/>
        </pc:sldMkLst>
        <pc:spChg chg="mod">
          <ac:chgData name="Christina Shaw" userId="14dc42a2-bfa6-4b75-b011-e3e8d16be8df" providerId="ADAL" clId="{13575708-91E0-4439-99BA-AF625E1A25D1}" dt="2020-03-27T18:15:21.828" v="33"/>
          <ac:spMkLst>
            <pc:docMk/>
            <pc:sldMk cId="3107519489" sldId="359"/>
            <ac:spMk id="7" creationId="{577FEBC7-9B7A-428F-826E-1956BCED482F}"/>
          </ac:spMkLst>
        </pc:spChg>
        <pc:spChg chg="mod">
          <ac:chgData name="Christina Shaw" userId="14dc42a2-bfa6-4b75-b011-e3e8d16be8df" providerId="ADAL" clId="{13575708-91E0-4439-99BA-AF625E1A25D1}" dt="2020-03-27T18:19:34.259" v="67" actId="14100"/>
          <ac:spMkLst>
            <pc:docMk/>
            <pc:sldMk cId="3107519489" sldId="359"/>
            <ac:spMk id="8" creationId="{01964296-290D-4E0B-8433-B611615D56FF}"/>
          </ac:spMkLst>
        </pc:spChg>
        <pc:spChg chg="mod">
          <ac:chgData name="Christina Shaw" userId="14dc42a2-bfa6-4b75-b011-e3e8d16be8df" providerId="ADAL" clId="{13575708-91E0-4439-99BA-AF625E1A25D1}" dt="2020-03-27T18:18:03.283" v="50" actId="14100"/>
          <ac:spMkLst>
            <pc:docMk/>
            <pc:sldMk cId="3107519489" sldId="359"/>
            <ac:spMk id="9" creationId="{A2F92481-AE33-45AD-8CA4-62E0D863424B}"/>
          </ac:spMkLst>
        </pc:spChg>
        <pc:spChg chg="mod">
          <ac:chgData name="Christina Shaw" userId="14dc42a2-bfa6-4b75-b011-e3e8d16be8df" providerId="ADAL" clId="{13575708-91E0-4439-99BA-AF625E1A25D1}" dt="2020-03-27T18:19:28.508" v="63" actId="1035"/>
          <ac:spMkLst>
            <pc:docMk/>
            <pc:sldMk cId="3107519489" sldId="359"/>
            <ac:spMk id="12" creationId="{E2F2D641-78C6-41CC-821F-EB294C36BC1F}"/>
          </ac:spMkLst>
        </pc:spChg>
        <pc:spChg chg="mod">
          <ac:chgData name="Christina Shaw" userId="14dc42a2-bfa6-4b75-b011-e3e8d16be8df" providerId="ADAL" clId="{13575708-91E0-4439-99BA-AF625E1A25D1}" dt="2020-03-27T18:19:14.066" v="60" actId="1035"/>
          <ac:spMkLst>
            <pc:docMk/>
            <pc:sldMk cId="3107519489" sldId="359"/>
            <ac:spMk id="13" creationId="{F5D040AC-923B-4613-8DFB-8B87F08FAFAF}"/>
          </ac:spMkLst>
        </pc:spChg>
        <pc:spChg chg="mod">
          <ac:chgData name="Christina Shaw" userId="14dc42a2-bfa6-4b75-b011-e3e8d16be8df" providerId="ADAL" clId="{13575708-91E0-4439-99BA-AF625E1A25D1}" dt="2020-03-27T18:17:02.735" v="43"/>
          <ac:spMkLst>
            <pc:docMk/>
            <pc:sldMk cId="3107519489" sldId="359"/>
            <ac:spMk id="14" creationId="{BCAA4484-7588-4511-9C76-C4717C2383BB}"/>
          </ac:spMkLst>
        </pc:spChg>
        <pc:spChg chg="mod">
          <ac:chgData name="Christina Shaw" userId="14dc42a2-bfa6-4b75-b011-e3e8d16be8df" providerId="ADAL" clId="{13575708-91E0-4439-99BA-AF625E1A25D1}" dt="2020-03-27T18:17:54.620" v="48" actId="1076"/>
          <ac:spMkLst>
            <pc:docMk/>
            <pc:sldMk cId="3107519489" sldId="359"/>
            <ac:spMk id="15" creationId="{65DF17A8-A2A2-4DFC-81C2-AF5DE8C0ECF8}"/>
          </ac:spMkLst>
        </pc:spChg>
        <pc:spChg chg="mod">
          <ac:chgData name="Christina Shaw" userId="14dc42a2-bfa6-4b75-b011-e3e8d16be8df" providerId="ADAL" clId="{13575708-91E0-4439-99BA-AF625E1A25D1}" dt="2020-03-27T18:17:47.210" v="46"/>
          <ac:spMkLst>
            <pc:docMk/>
            <pc:sldMk cId="3107519489" sldId="359"/>
            <ac:spMk id="16" creationId="{56313C0A-357B-410A-882C-1A5207CB7171}"/>
          </ac:spMkLst>
        </pc:spChg>
        <pc:spChg chg="mod">
          <ac:chgData name="Christina Shaw" userId="14dc42a2-bfa6-4b75-b011-e3e8d16be8df" providerId="ADAL" clId="{13575708-91E0-4439-99BA-AF625E1A25D1}" dt="2020-03-27T18:18:45.895" v="56"/>
          <ac:spMkLst>
            <pc:docMk/>
            <pc:sldMk cId="3107519489" sldId="359"/>
            <ac:spMk id="17" creationId="{A9792A3B-2EDC-4E78-8FEB-298F80AA0978}"/>
          </ac:spMkLst>
        </pc:spChg>
        <pc:spChg chg="mod">
          <ac:chgData name="Christina Shaw" userId="14dc42a2-bfa6-4b75-b011-e3e8d16be8df" providerId="ADAL" clId="{13575708-91E0-4439-99BA-AF625E1A25D1}" dt="2020-03-27T18:18:56.887" v="57"/>
          <ac:spMkLst>
            <pc:docMk/>
            <pc:sldMk cId="3107519489" sldId="359"/>
            <ac:spMk id="18" creationId="{5A2ED637-76EC-410F-BEBA-6BF5C3D46FDA}"/>
          </ac:spMkLst>
        </pc:spChg>
        <pc:spChg chg="mod">
          <ac:chgData name="Christina Shaw" userId="14dc42a2-bfa6-4b75-b011-e3e8d16be8df" providerId="ADAL" clId="{13575708-91E0-4439-99BA-AF625E1A25D1}" dt="2020-03-27T18:19:06.692" v="58"/>
          <ac:spMkLst>
            <pc:docMk/>
            <pc:sldMk cId="3107519489" sldId="359"/>
            <ac:spMk id="19" creationId="{24293566-A674-4D9D-A04B-C7300BB279B2}"/>
          </ac:spMkLst>
        </pc:spChg>
      </pc:sldChg>
      <pc:sldChg chg="modSp modNotesTx">
        <pc:chgData name="Christina Shaw" userId="14dc42a2-bfa6-4b75-b011-e3e8d16be8df" providerId="ADAL" clId="{13575708-91E0-4439-99BA-AF625E1A25D1}" dt="2020-03-27T18:20:46.689" v="83"/>
        <pc:sldMkLst>
          <pc:docMk/>
          <pc:sldMk cId="1498434432" sldId="360"/>
        </pc:sldMkLst>
        <pc:spChg chg="mod">
          <ac:chgData name="Christina Shaw" userId="14dc42a2-bfa6-4b75-b011-e3e8d16be8df" providerId="ADAL" clId="{13575708-91E0-4439-99BA-AF625E1A25D1}" dt="2020-03-27T18:15:30.090" v="35"/>
          <ac:spMkLst>
            <pc:docMk/>
            <pc:sldMk cId="1498434432" sldId="360"/>
            <ac:spMk id="7" creationId="{7AFAEDE4-F581-4010-A92D-854FED56AF4A}"/>
          </ac:spMkLst>
        </pc:spChg>
        <pc:spChg chg="mod">
          <ac:chgData name="Christina Shaw" userId="14dc42a2-bfa6-4b75-b011-e3e8d16be8df" providerId="ADAL" clId="{13575708-91E0-4439-99BA-AF625E1A25D1}" dt="2020-03-27T18:19:51.688" v="69"/>
          <ac:spMkLst>
            <pc:docMk/>
            <pc:sldMk cId="1498434432" sldId="360"/>
            <ac:spMk id="8" creationId="{3DD1AED2-E716-456D-A0F0-8D93E8F11F95}"/>
          </ac:spMkLst>
        </pc:spChg>
        <pc:spChg chg="mod">
          <ac:chgData name="Christina Shaw" userId="14dc42a2-bfa6-4b75-b011-e3e8d16be8df" providerId="ADAL" clId="{13575708-91E0-4439-99BA-AF625E1A25D1}" dt="2020-03-27T18:20:25.468" v="81" actId="1035"/>
          <ac:spMkLst>
            <pc:docMk/>
            <pc:sldMk cId="1498434432" sldId="360"/>
            <ac:spMk id="9" creationId="{22BE2EC5-5703-4177-9FF5-F36289027A4B}"/>
          </ac:spMkLst>
        </pc:spChg>
        <pc:spChg chg="mod">
          <ac:chgData name="Christina Shaw" userId="14dc42a2-bfa6-4b75-b011-e3e8d16be8df" providerId="ADAL" clId="{13575708-91E0-4439-99BA-AF625E1A25D1}" dt="2020-03-27T18:20:37.958" v="82"/>
          <ac:spMkLst>
            <pc:docMk/>
            <pc:sldMk cId="1498434432" sldId="360"/>
            <ac:spMk id="10" creationId="{416C45F6-01CD-409D-87E2-BBC79B23C382}"/>
          </ac:spMkLst>
        </pc:spChg>
        <pc:spChg chg="mod">
          <ac:chgData name="Christina Shaw" userId="14dc42a2-bfa6-4b75-b011-e3e8d16be8df" providerId="ADAL" clId="{13575708-91E0-4439-99BA-AF625E1A25D1}" dt="2020-03-27T18:20:46.689" v="83"/>
          <ac:spMkLst>
            <pc:docMk/>
            <pc:sldMk cId="1498434432" sldId="360"/>
            <ac:spMk id="11" creationId="{03CFCA8C-1642-4362-952D-8B92DC70D2E0}"/>
          </ac:spMkLst>
        </pc:spChg>
      </pc:sldChg>
      <pc:sldChg chg="del">
        <pc:chgData name="Christina Shaw" userId="14dc42a2-bfa6-4b75-b011-e3e8d16be8df" providerId="ADAL" clId="{13575708-91E0-4439-99BA-AF625E1A25D1}" dt="2020-03-27T18:14:39.494" v="32" actId="2696"/>
        <pc:sldMkLst>
          <pc:docMk/>
          <pc:sldMk cId="3811985841" sldId="361"/>
        </pc:sldMkLst>
      </pc:sldChg>
      <pc:sldChg chg="add">
        <pc:chgData name="Christina Shaw" userId="14dc42a2-bfa6-4b75-b011-e3e8d16be8df" providerId="ADAL" clId="{13575708-91E0-4439-99BA-AF625E1A25D1}" dt="2020-03-27T18:10:56.053" v="7"/>
        <pc:sldMkLst>
          <pc:docMk/>
          <pc:sldMk cId="3158081322" sldId="362"/>
        </pc:sldMkLst>
      </pc:sldChg>
      <pc:sldChg chg="modSp add del">
        <pc:chgData name="Christina Shaw" userId="14dc42a2-bfa6-4b75-b011-e3e8d16be8df" providerId="ADAL" clId="{13575708-91E0-4439-99BA-AF625E1A25D1}" dt="2020-03-27T18:20:49.669" v="84" actId="2696"/>
        <pc:sldMkLst>
          <pc:docMk/>
          <pc:sldMk cId="1064688117" sldId="363"/>
        </pc:sldMkLst>
        <pc:spChg chg="mod">
          <ac:chgData name="Christina Shaw" userId="14dc42a2-bfa6-4b75-b011-e3e8d16be8df" providerId="ADAL" clId="{13575708-91E0-4439-99BA-AF625E1A25D1}" dt="2020-03-27T18:12:29.032" v="21" actId="27636"/>
          <ac:spMkLst>
            <pc:docMk/>
            <pc:sldMk cId="1064688117" sldId="363"/>
            <ac:spMk id="2" creationId="{A31E94E2-470C-4A7D-9CB1-8B37CF0BFBB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3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386659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6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516507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7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70363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9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06246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pPr algn="l" rtl="0"/>
            <a:r>
              <a:rPr lang="pt-PT" b="0" i="0" u="none" baseline="0"/>
              <a:t>Defesa do investimento na imunizaçã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60596"/>
            <a:ext cx="6226044" cy="737121"/>
          </a:xfrm>
        </p:spPr>
        <p:txBody>
          <a:bodyPr>
            <a:normAutofit fontScale="92500" lnSpcReduction="20000"/>
          </a:bodyPr>
          <a:lstStyle/>
          <a:p>
            <a:pPr algn="l" rtl="0"/>
            <a:r>
              <a:rPr lang="pt-PT" b="0" i="0" u="none" baseline="0"/>
              <a:t>Promover o crescimento económico através da imunizaçã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Nota: esta apresentação baseia-se fortemente em materiais da Immunization Advocacy Library da OMS Euro, assim como do VoICE, The Value of Immunization Compendium of Evid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>
                <a:solidFill>
                  <a:schemeClr val="tx1"/>
                </a:solidFill>
              </a:rPr>
              <a:t>Revista a 30 de novembro de 2019</a:t>
            </a:r>
          </a:p>
          <a:p>
            <a:endParaRPr lang="pt-P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F29A81-9C30-42BF-94E4-7B64393582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108827"/>
            <a:ext cx="1446663" cy="144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2424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 fontScale="90000"/>
          </a:bodyPr>
          <a:lstStyle/>
          <a:p>
            <a:pPr algn="l" rtl="0"/>
            <a:r>
              <a:rPr lang="pt-PT" b="0" i="0" u="none" baseline="0" dirty="0"/>
              <a:t>Utilizar os dados para mostrar que a vacinação no vosso país atinge resultados económicos evidentes (e ainda há mais a</a:t>
            </a:r>
            <a:r>
              <a:rPr lang="pt-PT" b="0" i="0" u="none" dirty="0"/>
              <a:t> </a:t>
            </a:r>
            <a:r>
              <a:rPr lang="pt-PT" b="0" i="0" u="none" baseline="0" dirty="0"/>
              <a:t>fazer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0429457"/>
              </p:ext>
            </p:extLst>
          </p:nvPr>
        </p:nvGraphicFramePr>
        <p:xfrm>
          <a:off x="457200" y="1651725"/>
          <a:ext cx="8229600" cy="2564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539932">
                <a:tc>
                  <a:txBody>
                    <a:bodyPr/>
                    <a:lstStyle/>
                    <a:p>
                      <a:pPr algn="l" rtl="0"/>
                      <a:r>
                        <a:rPr lang="pt-PT" b="1" i="0" u="none" baseline="0"/>
                        <a:t>Requisitos de Da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b="1" i="0" u="none" baseline="0"/>
                        <a:t>Exemplo de análise hipotético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2024743">
                <a:tc>
                  <a:txBody>
                    <a:bodyPr/>
                    <a:lstStyle/>
                    <a:p>
                      <a:endParaRPr lang="pt-PT" sz="1400" dirty="0"/>
                    </a:p>
                    <a:p>
                      <a:endParaRPr lang="pt-PT" sz="1400" dirty="0"/>
                    </a:p>
                    <a:p>
                      <a:pPr algn="l" rtl="0"/>
                      <a:r>
                        <a:rPr lang="pt-PT" sz="1400" b="0" i="0" u="none" baseline="0"/>
                        <a:t>Cobertura de vacinas total e por distrito ou grupos secundários da popul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Fizemos progressos sólidos na cobertura de vacinação como país, mas as crianças dos distritos _____ e ______ estão num risco muito maior para doenças evitáveis por vacinas.  Um aumento do investimento na vacinação para chegar a estas famílias poderá melhorar o sucesso escolar e a cognição, o que se traduz numa maior produtividade e crescimento económico a longo praz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0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300" b="1" i="0" u="none" baseline="0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6617623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O VoICE é uma fonte excelente de informações sobre o valor da imuniza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pPr algn="l" rtl="0"/>
            <a:r>
              <a:rPr lang="pt-PT" sz="2800" b="0" i="0" u="none" baseline="0" dirty="0">
                <a:hlinkClick r:id="rId3"/>
              </a:rPr>
              <a:t>https://immunizationevidence.org/</a:t>
            </a:r>
            <a:endParaRPr lang="pt-PT" sz="2800" dirty="0"/>
          </a:p>
          <a:p>
            <a:endParaRPr lang="pt-PT" sz="2800" dirty="0"/>
          </a:p>
          <a:p>
            <a:endParaRPr lang="pt-PT" sz="2800" dirty="0"/>
          </a:p>
          <a:p>
            <a:pPr algn="l" rtl="0"/>
            <a:r>
              <a:rPr lang="pt-PT" sz="2800" b="0" i="0" u="none" baseline="0" dirty="0"/>
              <a:t>Fácil de utilizar e atualizado com regularida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1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790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pósito do conjunto de diapositiv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pPr algn="l" rtl="0"/>
            <a:r>
              <a:rPr lang="pt-PT" b="1" i="0" u="none" baseline="0" dirty="0"/>
              <a:t>Propósito</a:t>
            </a:r>
            <a:r>
              <a:rPr lang="pt-PT" b="0" i="0" u="none" baseline="0" dirty="0"/>
              <a:t>: dar aos membros da LNCT um conjunto de idéias de argumentos para aumentar (ou pelo menos manter) o investimento na vacinação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Alguns materiais repetem-se propositadamente porque podem ser usados para argumentos diferentes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Os diapositivos foram feitos para serem usados e adaptados para diferentes públicos (por exemplo, ministros das finanças, deputados, outros) e contextos</a:t>
            </a:r>
          </a:p>
          <a:p>
            <a:endParaRPr lang="pt-PT" dirty="0"/>
          </a:p>
          <a:p>
            <a:pPr algn="l" rtl="0"/>
            <a:r>
              <a:rPr lang="pt-PT" b="1" i="0" u="none" baseline="0" dirty="0"/>
              <a:t>Precisamos da sua opinião</a:t>
            </a:r>
            <a:r>
              <a:rPr lang="pt-PT" b="0" i="0" u="none" baseline="0" dirty="0"/>
              <a:t>: isto é útil?  Podem ser melhorados para serem mais úteis para as suas necessidades e seu trabalho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2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5954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 dirty="0"/>
              <a:t>Porque a vacinação é um investimento importante?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pt-PT" sz="900" b="0" i="0" u="none" baseline="0">
                <a:solidFill>
                  <a:prstClr val="black"/>
                </a:solidFill>
                <a:latin typeface="Calibri"/>
              </a:rPr>
              <a:t>Adaptado de Palu, T. (2016). </a:t>
            </a:r>
          </a:p>
          <a:p>
            <a:pPr algn="r" rtl="0"/>
            <a:r>
              <a:rPr lang="pt-PT" sz="900" b="0" i="0" u="none" baseline="0">
                <a:solidFill>
                  <a:prstClr val="black"/>
                </a:solidFill>
                <a:latin typeface="Calibri"/>
              </a:rPr>
              <a:t>Vacinação sustentável através da cobertura universal de saúde. Reunião do World Bank SAGE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pt-PT" sz="1600" b="0" i="0" u="none" baseline="0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lataforma de preparação</a:t>
              </a:r>
              <a:r>
                <a:rPr lang="pt-PT" sz="1600" b="0" i="0" u="none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pt-PT" sz="1600" b="0" i="0" u="none" baseline="0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ara pandemias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627496"/>
                <a:ext cx="191476" cy="192999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182336" y="904197"/>
                <a:ext cx="3500128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onto de entrada para a oferecer serviços de saúde à população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saúde, mortalidade reduzida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19619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aposta de investimento em saúde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3" y="2623802"/>
                <a:ext cx="14043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Intervenção a favor dos pobres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980719"/>
                <a:ext cx="36506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Reduzir carga de doença no futuros</a:t>
                </a: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72431" y="1385057"/>
                <a:ext cx="2522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Ganhos em produtividade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31653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cognição, formação educacional, nutrição</a:t>
                </a: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16131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B5E7-2CCC-4F7C-AD25-96E9109EC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 dirty="0"/>
              <a:t>A vacinação gera ganhos econômicos grand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AC247-35AC-44AE-89D7-30D078245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4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A0E217-8884-4A26-845D-1054F6325926}"/>
              </a:ext>
            </a:extLst>
          </p:cNvPr>
          <p:cNvSpPr txBox="1"/>
          <p:nvPr/>
        </p:nvSpPr>
        <p:spPr>
          <a:xfrm>
            <a:off x="457200" y="1135823"/>
            <a:ext cx="82569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b="1" i="0" u="none" baseline="0" dirty="0"/>
              <a:t>Análises </a:t>
            </a:r>
            <a:r>
              <a:rPr lang="pt-PT" b="1" dirty="0"/>
              <a:t>de</a:t>
            </a:r>
            <a:r>
              <a:rPr lang="pt-PT" b="1" i="0" u="none" baseline="0" dirty="0"/>
              <a:t> retorno do investimento quantificam os benefícios da vacinação em termos monetário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ABF9-7565-480C-BF69-D8084962988D}"/>
              </a:ext>
            </a:extLst>
          </p:cNvPr>
          <p:cNvSpPr txBox="1"/>
          <p:nvPr/>
        </p:nvSpPr>
        <p:spPr>
          <a:xfrm>
            <a:off x="539883" y="1956963"/>
            <a:ext cx="4294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b="0" i="0" u="none" baseline="0">
                <a:solidFill>
                  <a:schemeClr val="accent2"/>
                </a:solidFill>
              </a:rPr>
              <a:t>Trabalhos recentes demonstram que por cada $1 investido em vacinação traz uma estimativa de...</a:t>
            </a:r>
            <a:endParaRPr lang="pt-PT" b="1" dirty="0">
              <a:solidFill>
                <a:schemeClr val="accent2"/>
              </a:solidFill>
              <a:latin typeface="Museo Sans 500" panose="02000000000000000000" pitchFamily="50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5F6B6B-5C88-416C-8C18-4990BC2A2F22}"/>
              </a:ext>
            </a:extLst>
          </p:cNvPr>
          <p:cNvCxnSpPr/>
          <p:nvPr/>
        </p:nvCxnSpPr>
        <p:spPr>
          <a:xfrm>
            <a:off x="539883" y="1867401"/>
            <a:ext cx="8322014" cy="1610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5604EC9-A265-49A5-B7F2-5F3F66B8A3B5}"/>
              </a:ext>
            </a:extLst>
          </p:cNvPr>
          <p:cNvSpPr txBox="1"/>
          <p:nvPr/>
        </p:nvSpPr>
        <p:spPr>
          <a:xfrm>
            <a:off x="434706" y="2880293"/>
            <a:ext cx="186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5400" b="1" i="0" u="none" baseline="0">
                <a:latin typeface="Museo Sans 700" panose="02000000000000000000" pitchFamily="50" charset="0"/>
              </a:rPr>
              <a:t>$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580657-1CEF-43B5-BA17-DA6D5D9AD35C}"/>
              </a:ext>
            </a:extLst>
          </p:cNvPr>
          <p:cNvSpPr txBox="1"/>
          <p:nvPr/>
        </p:nvSpPr>
        <p:spPr>
          <a:xfrm>
            <a:off x="2013821" y="3035258"/>
            <a:ext cx="27138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sz="3000" b="0" i="0" u="none" baseline="0" dirty="0"/>
              <a:t>em benefícios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626916-F9DF-4914-9E92-E7FE3FC5E517}"/>
              </a:ext>
            </a:extLst>
          </p:cNvPr>
          <p:cNvCxnSpPr/>
          <p:nvPr/>
        </p:nvCxnSpPr>
        <p:spPr>
          <a:xfrm>
            <a:off x="4957459" y="1949868"/>
            <a:ext cx="0" cy="3729683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C5D4278E-CF68-4414-AB8C-B771178CC650}"/>
              </a:ext>
            </a:extLst>
          </p:cNvPr>
          <p:cNvSpPr/>
          <p:nvPr/>
        </p:nvSpPr>
        <p:spPr>
          <a:xfrm>
            <a:off x="1053017" y="3825624"/>
            <a:ext cx="2918298" cy="496753"/>
          </a:xfrm>
          <a:prstGeom prst="flowChartMerg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EAEF749-7CF7-4375-B282-575A2D517884}"/>
              </a:ext>
            </a:extLst>
          </p:cNvPr>
          <p:cNvSpPr/>
          <p:nvPr/>
        </p:nvSpPr>
        <p:spPr>
          <a:xfrm>
            <a:off x="535832" y="4412474"/>
            <a:ext cx="4191810" cy="129804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-PT" sz="1500" b="0" i="0" u="none" baseline="0" dirty="0"/>
              <a:t>Estas análises mostram que vacinação é um excelente investimento.  Análises comparativas demonstram que a vacinação é um dos investimentos </a:t>
            </a:r>
            <a:r>
              <a:rPr lang="pt-PT" sz="1500" dirty="0"/>
              <a:t>em</a:t>
            </a:r>
            <a:r>
              <a:rPr lang="pt-PT" sz="1500" b="0" i="0" u="none" baseline="0" dirty="0"/>
              <a:t> desenvolvimento com melhor retorno monetário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A0C157-2B4B-47D2-B63D-FE6139ACA2A4}"/>
              </a:ext>
            </a:extLst>
          </p:cNvPr>
          <p:cNvSpPr txBox="1"/>
          <p:nvPr/>
        </p:nvSpPr>
        <p:spPr>
          <a:xfrm>
            <a:off x="5083920" y="1981123"/>
            <a:ext cx="377797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b="0" i="0" u="none" baseline="0" dirty="0"/>
              <a:t>Estes retornos sobre o investimento são constituídos por: 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Poupança em custos de tratamento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Poupança nos custos de procura de tratamento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Evita perdas de salários de cuidadore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Evita perdas de produtividade causadas por doença ou morte prematura</a:t>
            </a:r>
          </a:p>
          <a:p>
            <a:pPr lvl="1" algn="l" rtl="0"/>
            <a:endParaRPr lang="pt-PT" dirty="0"/>
          </a:p>
          <a:p>
            <a:pPr algn="l" rtl="0"/>
            <a:r>
              <a:rPr lang="pt-PT" b="0" i="0" u="none" baseline="0" dirty="0"/>
              <a:t>Os maiores ganhos são na produtividade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CF4F05-CBD7-4D97-8429-DD04A1393A8C}"/>
              </a:ext>
            </a:extLst>
          </p:cNvPr>
          <p:cNvSpPr txBox="1"/>
          <p:nvPr/>
        </p:nvSpPr>
        <p:spPr>
          <a:xfrm>
            <a:off x="1847605" y="6106096"/>
            <a:ext cx="66095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r>
              <a:rPr lang="pt-PT" sz="1200" b="0" i="0" u="none" baseline="0">
                <a:solidFill>
                  <a:srgbClr val="FF0000"/>
                </a:solidFill>
              </a:rPr>
              <a:t>Fonte:  Sachi et al. Return on Investment from Childhood Immunizations in Low- and Middle- </a:t>
            </a:r>
          </a:p>
          <a:p>
            <a:pPr algn="l" rtl="0"/>
            <a:r>
              <a:rPr lang="pt-PT" sz="1200" b="0" i="0" u="none" baseline="0">
                <a:solidFill>
                  <a:srgbClr val="FF0000"/>
                </a:solidFill>
              </a:rPr>
              <a:t>Income Countries, 2011-20, Health Affairs, fevereiro de 2016.</a:t>
            </a:r>
          </a:p>
        </p:txBody>
      </p:sp>
      <p:sp>
        <p:nvSpPr>
          <p:cNvPr id="17" name="Star: 6 Points 16">
            <a:extLst>
              <a:ext uri="{FF2B5EF4-FFF2-40B4-BE49-F238E27FC236}">
                <a16:creationId xmlns:a16="http://schemas.microsoft.com/office/drawing/2014/main" id="{3B79315A-4E3D-40FE-929A-C675C2918281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3158081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A imunização fortalece as perspetivas educativas </a:t>
            </a:r>
            <a:br>
              <a:rPr lang="pt-PT" dirty="0"/>
            </a:br>
            <a:r>
              <a:rPr lang="pt-PT" b="0" i="0" u="none" baseline="0" dirty="0"/>
              <a:t>das crianças e o seu desenvolvimento cognitiv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32192"/>
            <a:ext cx="8229600" cy="4105247"/>
          </a:xfrm>
        </p:spPr>
        <p:txBody>
          <a:bodyPr>
            <a:normAutofit fontScale="92500" lnSpcReduction="20000"/>
          </a:bodyPr>
          <a:lstStyle/>
          <a:p>
            <a:pPr marL="0" indent="0" algn="l" rtl="0">
              <a:buNone/>
            </a:pPr>
            <a:r>
              <a:rPr lang="pt-PT" b="0" i="0" u="none" baseline="0" dirty="0"/>
              <a:t>Um crescente conjunto de evidências demonstra que:</a:t>
            </a:r>
          </a:p>
          <a:p>
            <a:pPr algn="l" rtl="0"/>
            <a:r>
              <a:rPr lang="pt-PT" b="0" i="0" u="none" baseline="0" dirty="0"/>
              <a:t>As crianças imunizadas faltam menos à escola</a:t>
            </a:r>
          </a:p>
          <a:p>
            <a:pPr algn="l" rtl="0"/>
            <a:r>
              <a:rPr lang="pt-PT" b="0" i="0" u="none" baseline="0" dirty="0"/>
              <a:t>As infeções evitáveis com vacinas recorrentes podem fazer com que as crianças adiem a sua entrada na escola, retardar o seu desenvolvimento físico e prejudicar o seu desenvolvimento cognitivo</a:t>
            </a:r>
          </a:p>
          <a:p>
            <a:pPr algn="l" rtl="0"/>
            <a:r>
              <a:rPr lang="pt-PT" b="0" i="0" u="none" baseline="0" dirty="0"/>
              <a:t>Algumas infeções evitáveis com vacinas podem resultar em incapacidades na audição, psicossociais e neurológicas a longo-prazo</a:t>
            </a:r>
          </a:p>
          <a:p>
            <a:pPr algn="l" rtl="0"/>
            <a:r>
              <a:rPr lang="pt-PT" b="0" i="0" u="none" baseline="0" dirty="0"/>
              <a:t>As crianças vacinadas com a vacina contra o sarampo tiveram melhores classificações em testes cognitivos do que as crianças não vacinadas</a:t>
            </a:r>
          </a:p>
          <a:p>
            <a:pPr algn="l" rtl="0"/>
            <a:r>
              <a:rPr lang="pt-PT" b="0" i="0" u="none" baseline="0" dirty="0"/>
              <a:t>As crianças cujas mães receberam uma vacina contra o tétano na gravidez tiveram melhores resultados educativos do que aquelas cujas mães não receberam</a:t>
            </a:r>
          </a:p>
          <a:p>
            <a:endParaRPr lang="pt-PT" dirty="0"/>
          </a:p>
          <a:p>
            <a:pPr marL="0" indent="0" algn="l" rtl="0">
              <a:buNone/>
            </a:pPr>
            <a:r>
              <a:rPr lang="pt-PT" sz="1500" b="0" i="0" u="none" baseline="0" dirty="0"/>
              <a:t>Para mais informações, consulte: https://immunizationevidence.org/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5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00" b="1" i="0" u="none" baseline="0"/>
              <a:t>Mensagem principal</a:t>
            </a:r>
          </a:p>
        </p:txBody>
      </p:sp>
    </p:spTree>
    <p:extLst>
      <p:ext uri="{BB962C8B-B14F-4D97-AF65-F5344CB8AC3E}">
        <p14:creationId xmlns:p14="http://schemas.microsoft.com/office/powerpoint/2010/main" val="470610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 rtl="0"/>
            <a:r>
              <a:rPr lang="fr" b="0" i="0" u="none" baseline="0"/>
              <a:t>Synthèse : La vaccination renforce </a:t>
            </a:r>
            <a:br>
              <a:rPr lang="fr"/>
            </a:br>
            <a:r>
              <a:rPr lang="fr" b="0" i="0" u="none" baseline="0"/>
              <a:t>les perspectives en matière d’éducation et le développement cognitif des enfa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6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/>
              <a:t>Message clé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8FE341-62BB-4D3D-B6B2-BF11142C2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906" y="1473683"/>
            <a:ext cx="6733619" cy="444915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77FEBC7-9B7A-428F-826E-1956BCED482F}"/>
              </a:ext>
            </a:extLst>
          </p:cNvPr>
          <p:cNvSpPr/>
          <p:nvPr/>
        </p:nvSpPr>
        <p:spPr>
          <a:xfrm>
            <a:off x="1712422" y="1778924"/>
            <a:ext cx="5353396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bg2"/>
                </a:solidFill>
              </a:rPr>
              <a:t>Imunização, escolaridade e perspetivas futura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964296-290D-4E0B-8433-B611615D56FF}"/>
              </a:ext>
            </a:extLst>
          </p:cNvPr>
          <p:cNvSpPr/>
          <p:nvPr/>
        </p:nvSpPr>
        <p:spPr>
          <a:xfrm>
            <a:off x="1673673" y="2201216"/>
            <a:ext cx="2496527" cy="46658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600" dirty="0">
                <a:solidFill>
                  <a:schemeClr val="bg2"/>
                </a:solidFill>
              </a:rPr>
              <a:t>Infeções na infância </a:t>
            </a:r>
            <a:br>
              <a:rPr lang="pt-BR" sz="1600" dirty="0">
                <a:solidFill>
                  <a:schemeClr val="bg2"/>
                </a:solidFill>
              </a:rPr>
            </a:br>
            <a:r>
              <a:rPr lang="pt-BR" sz="1600" dirty="0">
                <a:solidFill>
                  <a:schemeClr val="bg2"/>
                </a:solidFill>
              </a:rPr>
              <a:t>preveníveis com vacina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F92481-AE33-45AD-8CA4-62E0D863424B}"/>
              </a:ext>
            </a:extLst>
          </p:cNvPr>
          <p:cNvSpPr/>
          <p:nvPr/>
        </p:nvSpPr>
        <p:spPr>
          <a:xfrm>
            <a:off x="1383475" y="2838748"/>
            <a:ext cx="1357212" cy="36692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/>
                </a:solidFill>
              </a:rPr>
              <a:t>Dias de </a:t>
            </a:r>
            <a:r>
              <a:rPr lang="fr-FR" sz="1100" b="1" dirty="0" err="1">
                <a:solidFill>
                  <a:schemeClr val="accent2"/>
                </a:solidFill>
              </a:rPr>
              <a:t>absentismo</a:t>
            </a:r>
            <a:r>
              <a:rPr lang="fr-FR" sz="1100" b="1" dirty="0">
                <a:solidFill>
                  <a:schemeClr val="accent2"/>
                </a:solidFill>
              </a:rPr>
              <a:t> </a:t>
            </a:r>
            <a:r>
              <a:rPr lang="fr-FR" sz="1100" b="1" dirty="0" err="1">
                <a:solidFill>
                  <a:schemeClr val="accent2"/>
                </a:solidFill>
              </a:rPr>
              <a:t>escolar</a:t>
            </a:r>
            <a:endParaRPr lang="fr-FR" sz="1100" b="1" dirty="0">
              <a:solidFill>
                <a:schemeClr val="accent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F2D641-78C6-41CC-821F-EB294C36BC1F}"/>
              </a:ext>
            </a:extLst>
          </p:cNvPr>
          <p:cNvSpPr/>
          <p:nvPr/>
        </p:nvSpPr>
        <p:spPr>
          <a:xfrm>
            <a:off x="2612559" y="2753205"/>
            <a:ext cx="1493928" cy="318940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>
                <a:solidFill>
                  <a:schemeClr val="accent2"/>
                </a:solidFill>
              </a:rPr>
              <a:t>Impacto</a:t>
            </a:r>
            <a:r>
              <a:rPr lang="fr-FR" sz="1100" b="1" dirty="0">
                <a:solidFill>
                  <a:schemeClr val="accent2"/>
                </a:solidFill>
              </a:rPr>
              <a:t> </a:t>
            </a:r>
            <a:r>
              <a:rPr lang="fr-FR" sz="1100" b="1" dirty="0" err="1">
                <a:solidFill>
                  <a:schemeClr val="accent2"/>
                </a:solidFill>
              </a:rPr>
              <a:t>negativo</a:t>
            </a:r>
            <a:r>
              <a:rPr lang="fr-FR" sz="1100" b="1" dirty="0">
                <a:solidFill>
                  <a:schemeClr val="accent2"/>
                </a:solidFill>
              </a:rPr>
              <a:t> sob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D040AC-923B-4613-8DFB-8B87F08FAFAF}"/>
              </a:ext>
            </a:extLst>
          </p:cNvPr>
          <p:cNvSpPr/>
          <p:nvPr/>
        </p:nvSpPr>
        <p:spPr>
          <a:xfrm>
            <a:off x="1383476" y="3916448"/>
            <a:ext cx="1229084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>
                <a:solidFill>
                  <a:schemeClr val="accent2"/>
                </a:solidFill>
              </a:rPr>
              <a:t>Adiamento do início da escolaridad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CAA4484-7588-4511-9C76-C4717C2383BB}"/>
              </a:ext>
            </a:extLst>
          </p:cNvPr>
          <p:cNvSpPr/>
          <p:nvPr/>
        </p:nvSpPr>
        <p:spPr>
          <a:xfrm>
            <a:off x="2740687" y="3934884"/>
            <a:ext cx="1572006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100" b="1" dirty="0">
                <a:solidFill>
                  <a:schemeClr val="accent2"/>
                </a:solidFill>
              </a:rPr>
              <a:t>Incapacidades a longo-prazo que afetam a educação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DF17A8-A2A2-4DFC-81C2-AF5DE8C0ECF8}"/>
              </a:ext>
            </a:extLst>
          </p:cNvPr>
          <p:cNvSpPr/>
          <p:nvPr/>
        </p:nvSpPr>
        <p:spPr>
          <a:xfrm>
            <a:off x="2491337" y="3660065"/>
            <a:ext cx="948639" cy="189417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err="1">
                <a:solidFill>
                  <a:schemeClr val="bg2"/>
                </a:solidFill>
              </a:rPr>
              <a:t>Crescimento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313C0A-357B-410A-882C-1A5207CB7171}"/>
              </a:ext>
            </a:extLst>
          </p:cNvPr>
          <p:cNvSpPr/>
          <p:nvPr/>
        </p:nvSpPr>
        <p:spPr>
          <a:xfrm>
            <a:off x="3359523" y="3656753"/>
            <a:ext cx="810677" cy="156954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err="1">
                <a:solidFill>
                  <a:schemeClr val="bg2"/>
                </a:solidFill>
              </a:rPr>
              <a:t>Cognição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9792A3B-2EDC-4E78-8FEB-298F80AA0978}"/>
              </a:ext>
            </a:extLst>
          </p:cNvPr>
          <p:cNvSpPr/>
          <p:nvPr/>
        </p:nvSpPr>
        <p:spPr>
          <a:xfrm>
            <a:off x="2784143" y="5039219"/>
            <a:ext cx="1514902" cy="22005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bg2"/>
                </a:solidFill>
              </a:rPr>
              <a:t>Danos </a:t>
            </a:r>
            <a:r>
              <a:rPr lang="fr-FR" sz="1000" dirty="0" err="1">
                <a:solidFill>
                  <a:schemeClr val="bg2"/>
                </a:solidFill>
              </a:rPr>
              <a:t>neurológicos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2ED637-76EC-410F-BEBA-6BF5C3D46FDA}"/>
              </a:ext>
            </a:extLst>
          </p:cNvPr>
          <p:cNvSpPr/>
          <p:nvPr/>
        </p:nvSpPr>
        <p:spPr>
          <a:xfrm>
            <a:off x="4621240" y="4028182"/>
            <a:ext cx="1377991" cy="617482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00" b="1" dirty="0" err="1">
                <a:solidFill>
                  <a:srgbClr val="00B0F0"/>
                </a:solidFill>
              </a:rPr>
              <a:t>Menos</a:t>
            </a:r>
            <a:r>
              <a:rPr lang="fr-FR" sz="1300" b="1" dirty="0">
                <a:solidFill>
                  <a:srgbClr val="00B0F0"/>
                </a:solidFill>
              </a:rPr>
              <a:t> </a:t>
            </a:r>
            <a:r>
              <a:rPr lang="fr-FR" sz="1300" b="1" dirty="0" err="1">
                <a:solidFill>
                  <a:srgbClr val="00B0F0"/>
                </a:solidFill>
              </a:rPr>
              <a:t>escolaridade</a:t>
            </a:r>
            <a:r>
              <a:rPr lang="fr-FR" sz="1300" b="1" dirty="0">
                <a:solidFill>
                  <a:srgbClr val="00B0F0"/>
                </a:solidFill>
              </a:rPr>
              <a:t> </a:t>
            </a:r>
            <a:r>
              <a:rPr lang="fr-FR" sz="1300" b="1" dirty="0" err="1">
                <a:solidFill>
                  <a:srgbClr val="00B0F0"/>
                </a:solidFill>
              </a:rPr>
              <a:t>atingida</a:t>
            </a:r>
            <a:endParaRPr lang="fr-FR" sz="1300" b="1" dirty="0">
              <a:solidFill>
                <a:srgbClr val="00B0F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293566-A674-4D9D-A04B-C7300BB279B2}"/>
              </a:ext>
            </a:extLst>
          </p:cNvPr>
          <p:cNvSpPr/>
          <p:nvPr/>
        </p:nvSpPr>
        <p:spPr>
          <a:xfrm>
            <a:off x="6298882" y="3881946"/>
            <a:ext cx="1253981" cy="833109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>
                <a:solidFill>
                  <a:srgbClr val="00B0F0"/>
                </a:solidFill>
              </a:rPr>
              <a:t>Potencial de rendimentos futuros diminuído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268923-1EE0-46D5-B7B0-7DA4774505CC}"/>
              </a:ext>
            </a:extLst>
          </p:cNvPr>
          <p:cNvSpPr/>
          <p:nvPr/>
        </p:nvSpPr>
        <p:spPr>
          <a:xfrm>
            <a:off x="4837240" y="3054877"/>
            <a:ext cx="1110390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B1F990E-86A5-4916-8C09-8F22831DFC9F}"/>
              </a:ext>
            </a:extLst>
          </p:cNvPr>
          <p:cNvSpPr/>
          <p:nvPr/>
        </p:nvSpPr>
        <p:spPr>
          <a:xfrm>
            <a:off x="6298882" y="2872268"/>
            <a:ext cx="1110390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519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 rtl="0"/>
            <a:r>
              <a:rPr lang="fr" b="0" i="0" u="none" baseline="0" dirty="0"/>
              <a:t>Les avantages de la vaccination pour la santé et </a:t>
            </a:r>
            <a:br>
              <a:rPr lang="fr" dirty="0"/>
            </a:br>
            <a:r>
              <a:rPr lang="fr" b="0" i="0" u="none" baseline="0" dirty="0"/>
              <a:t>l’instruction des enfants </a:t>
            </a:r>
            <a:r>
              <a:rPr lang="fr" b="0" i="0" u="none" baseline="0" dirty="0">
                <a:latin typeface="Segoe UI" panose="020B0502040204020203" pitchFamily="34" charset="0"/>
                <a:cs typeface="Segoe UI" panose="020B0502040204020203" pitchFamily="34" charset="0"/>
              </a:rPr>
              <a:t>→</a:t>
            </a:r>
            <a:r>
              <a:rPr lang="fr" b="0" i="0" u="none" baseline="0" dirty="0"/>
              <a:t> </a:t>
            </a:r>
            <a:r>
              <a:rPr lang="fr" b="1" i="0" u="none" baseline="0" dirty="0"/>
              <a:t>augmentation des revenus et amélioration de la productivité à l’âge adul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60310"/>
            <a:ext cx="8229600" cy="4161113"/>
          </a:xfrm>
        </p:spPr>
        <p:txBody>
          <a:bodyPr>
            <a:normAutofit/>
          </a:bodyPr>
          <a:lstStyle/>
          <a:p>
            <a:pPr algn="l" rtl="0"/>
            <a:r>
              <a:rPr lang="fr" sz="1600" b="0" i="0" u="none" baseline="0" dirty="0"/>
              <a:t>En Afrique, la Banque mondiale estime que chaque année d’étude supplémentaire rapporte 12,4 % de revenus futurs supplémentaires à l’âge adulte</a:t>
            </a:r>
          </a:p>
          <a:p>
            <a:pPr algn="l" rtl="0"/>
            <a:r>
              <a:rPr lang="fr" sz="1600" b="0" i="0" u="none" baseline="0" dirty="0"/>
              <a:t>Les rendements sont les plus conséquents dans les pays à revenu faible et intermédiaire</a:t>
            </a:r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pPr marL="0" indent="0" algn="l" rtl="0">
              <a:buNone/>
            </a:pPr>
            <a:endParaRPr lang="fr" sz="15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7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997116" y="90984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/>
              <a:t>Message clé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9148A1-9DD2-40F0-A3EC-C6FEF9203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7131" y="2539692"/>
            <a:ext cx="5456619" cy="357318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AFAEDE4-F581-4010-A92D-854FED56AF4A}"/>
              </a:ext>
            </a:extLst>
          </p:cNvPr>
          <p:cNvSpPr/>
          <p:nvPr/>
        </p:nvSpPr>
        <p:spPr>
          <a:xfrm>
            <a:off x="2000250" y="2734267"/>
            <a:ext cx="4663142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>
                <a:solidFill>
                  <a:schemeClr val="bg2"/>
                </a:solidFill>
              </a:rPr>
              <a:t>Imunização, escolaridade e perspetivas futura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D1AED2-E716-456D-A0F0-8D93E8F11F95}"/>
              </a:ext>
            </a:extLst>
          </p:cNvPr>
          <p:cNvSpPr/>
          <p:nvPr/>
        </p:nvSpPr>
        <p:spPr>
          <a:xfrm>
            <a:off x="2000250" y="3120259"/>
            <a:ext cx="4891869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dirty="0">
                <a:solidFill>
                  <a:srgbClr val="00B0F0"/>
                </a:solidFill>
              </a:rPr>
              <a:t>A imunização previne as infeções na infância e protege uma criança..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BE2EC5-5703-4177-9FF5-F36289027A4B}"/>
              </a:ext>
            </a:extLst>
          </p:cNvPr>
          <p:cNvSpPr/>
          <p:nvPr/>
        </p:nvSpPr>
        <p:spPr>
          <a:xfrm>
            <a:off x="1828048" y="4334893"/>
            <a:ext cx="1508710" cy="45775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O </a:t>
            </a:r>
            <a:r>
              <a:rPr lang="fr-FR" sz="1200" b="1" dirty="0" err="1">
                <a:solidFill>
                  <a:schemeClr val="accent2"/>
                </a:solidFill>
              </a:rPr>
              <a:t>crescimento</a:t>
            </a:r>
            <a:r>
              <a:rPr lang="fr-FR" sz="1200" b="1" dirty="0">
                <a:solidFill>
                  <a:schemeClr val="accent2"/>
                </a:solidFill>
              </a:rPr>
              <a:t> e </a:t>
            </a:r>
            <a:r>
              <a:rPr lang="fr-FR" sz="1200" b="1" dirty="0" err="1">
                <a:solidFill>
                  <a:schemeClr val="accent2"/>
                </a:solidFill>
              </a:rPr>
              <a:t>desenvolvimento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6C45F6-01CD-409D-87E2-BBC79B23C382}"/>
              </a:ext>
            </a:extLst>
          </p:cNvPr>
          <p:cNvSpPr/>
          <p:nvPr/>
        </p:nvSpPr>
        <p:spPr>
          <a:xfrm>
            <a:off x="3111199" y="3659950"/>
            <a:ext cx="1220622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Os </a:t>
            </a:r>
            <a:r>
              <a:rPr lang="fr-FR" sz="1200" b="1" dirty="0" err="1">
                <a:solidFill>
                  <a:schemeClr val="accent2"/>
                </a:solidFill>
              </a:rPr>
              <a:t>feitos</a:t>
            </a:r>
            <a:r>
              <a:rPr lang="fr-FR" sz="1200" b="1" dirty="0">
                <a:solidFill>
                  <a:schemeClr val="accent2"/>
                </a:solidFill>
              </a:rPr>
              <a:t> </a:t>
            </a:r>
            <a:r>
              <a:rPr lang="fr-FR" sz="1200" b="1" dirty="0" err="1">
                <a:solidFill>
                  <a:schemeClr val="accent2"/>
                </a:solidFill>
              </a:rPr>
              <a:t>educativos</a:t>
            </a:r>
            <a:endParaRPr lang="fr-FR" sz="1200" b="1" dirty="0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CFCA8C-1642-4362-952D-8B92DC70D2E0}"/>
              </a:ext>
            </a:extLst>
          </p:cNvPr>
          <p:cNvSpPr/>
          <p:nvPr/>
        </p:nvSpPr>
        <p:spPr>
          <a:xfrm>
            <a:off x="5312819" y="4174146"/>
            <a:ext cx="1350572" cy="45775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accent2"/>
                </a:solidFill>
              </a:rPr>
              <a:t>Rendimentos</a:t>
            </a:r>
            <a:r>
              <a:rPr lang="fr-FR" sz="1200" b="1" dirty="0">
                <a:solidFill>
                  <a:schemeClr val="accent2"/>
                </a:solidFill>
              </a:rPr>
              <a:t> e </a:t>
            </a:r>
            <a:r>
              <a:rPr lang="fr-FR" sz="1200" b="1" dirty="0" err="1">
                <a:solidFill>
                  <a:schemeClr val="accent2"/>
                </a:solidFill>
              </a:rPr>
              <a:t>produtividade</a:t>
            </a:r>
            <a:r>
              <a:rPr lang="fr-FR" sz="1200" b="1" dirty="0">
                <a:solidFill>
                  <a:schemeClr val="accent2"/>
                </a:solidFill>
              </a:rPr>
              <a:t> </a:t>
            </a:r>
            <a:r>
              <a:rPr lang="fr-FR" sz="1200" b="1" dirty="0" err="1">
                <a:solidFill>
                  <a:schemeClr val="accent2"/>
                </a:solidFill>
              </a:rPr>
              <a:t>futuros</a:t>
            </a:r>
            <a:endParaRPr lang="fr-FR" sz="12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434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Programas fortes de vacinação são uma plataforma para a preparação</a:t>
            </a:r>
            <a:r>
              <a:rPr lang="pt-PT" b="0" i="0" u="none" dirty="0"/>
              <a:t> para </a:t>
            </a:r>
            <a:r>
              <a:rPr lang="pt-PT" b="0" i="0" u="none" baseline="0" dirty="0"/>
              <a:t>pandemias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70617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Grandes surtos de doenças podem danificar severamente a economia e atrasar o crescimento ao prejudicar o comércio, o turismo, a produção e os transportes. 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A epidemia do SARS em 2003 pode ter custado ao Hong Kong mais do que 1% do seu PIB nesse ano.*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A vacinação pode prevenir diretamente surtos de algumas doenças, como por exemplo a febre amarela, a cólera, a meningite, o sarampo e a encefalite japonesa, para as quais já existem vacinas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8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4949591"/>
            <a:ext cx="8339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sz="1400" b="0" i="1" u="none" baseline="0"/>
              <a:t>*Brahmbhatt, Milan; Dutta, Arindam. 2008. On SARS Type Economic Effects During Infectious Disease Outbreaks. Policy Research Working Paper; No. 4466. World Bank, Washington, DC. © World Bank. https://openknowledge.worldbank.org/handle/10986/6440</a:t>
            </a:r>
            <a:endParaRPr lang="pt-PT" sz="1400" dirty="0"/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00" b="1" i="0" u="none" baseline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22461325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845552" cy="1143000"/>
          </a:xfrm>
        </p:spPr>
        <p:txBody>
          <a:bodyPr/>
          <a:lstStyle/>
          <a:p>
            <a:r>
              <a:rPr lang="pt-PT" b="0" i="0" u="none" baseline="0" dirty="0"/>
              <a:t>Programas fortes de vacinação são uma plataforma para </a:t>
            </a:r>
            <a:r>
              <a:rPr lang="pt-PT" dirty="0"/>
              <a:t>a preparação </a:t>
            </a:r>
            <a:r>
              <a:rPr lang="pt-PT" b="0" i="0" u="none" baseline="0" dirty="0"/>
              <a:t>para pandemias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 lnSpcReduction="10000"/>
          </a:bodyPr>
          <a:lstStyle/>
          <a:p>
            <a:pPr algn="l" rtl="0"/>
            <a:r>
              <a:rPr lang="pt-PT" b="0" i="0" u="none" baseline="0" dirty="0"/>
              <a:t>Um programa forte de vacinação permite aos países responder rapidamente quando se tornam disponíveis novas vacinas contra pandemias adicionais. 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Estão a ser desenvolvidas vacinas contra o Ébola, o Zika e outras doenças potencialmente epidémicas</a:t>
            </a:r>
          </a:p>
          <a:p>
            <a:pPr marL="0" indent="0" algn="l" rtl="0">
              <a:buNone/>
            </a:pPr>
            <a:r>
              <a:rPr lang="pt-PT" b="0" i="0" u="none" baseline="0" dirty="0"/>
              <a:t> </a:t>
            </a:r>
          </a:p>
          <a:p>
            <a:pPr algn="l" rtl="0"/>
            <a:r>
              <a:rPr lang="pt-PT" b="0" i="0" u="none" baseline="0" dirty="0"/>
              <a:t>Os programas de vacinação fortes podem ajudar os países a responder a epidemias de outras formas, até para epidemias de doenças para as quais ainda não existem vacinas. 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Por exemplo, a infraestrutura nigeriana para a poliomielite ajudou a prevenir um surto grave do Ébola em 2014.</a:t>
            </a:r>
          </a:p>
          <a:p>
            <a:pPr marL="0" indent="0" algn="l" rtl="0">
              <a:buNone/>
            </a:pPr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9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1974371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8F70BE-E4CC-4D73-8BA0-08FE658F0A94}">
  <ds:schemaRefs>
    <ds:schemaRef ds:uri="http://schemas.microsoft.com/office/2006/metadata/properties"/>
    <ds:schemaRef ds:uri="http://schemas.microsoft.com/office/infopath/2007/PartnerControls"/>
    <ds:schemaRef ds:uri="2af4539b-39f3-4771-ac1a-16de5a20c394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E607C530-0F4A-422D-95CB-75A5F6E409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37</TotalTime>
  <Words>1105</Words>
  <Application>Microsoft Office PowerPoint</Application>
  <PresentationFormat>On-screen Show (4:3)</PresentationFormat>
  <Paragraphs>123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Museo Sans 300</vt:lpstr>
      <vt:lpstr>Museo Sans 500</vt:lpstr>
      <vt:lpstr>Museo Sans 700</vt:lpstr>
      <vt:lpstr>Museo Slab 300</vt:lpstr>
      <vt:lpstr>Segoe UI</vt:lpstr>
      <vt:lpstr>Wingdings</vt:lpstr>
      <vt:lpstr>R4D_StandardTemplate_MAC</vt:lpstr>
      <vt:lpstr>think-cell Slide</vt:lpstr>
      <vt:lpstr>Defesa do investimento na imunização</vt:lpstr>
      <vt:lpstr>Propósito do conjunto de diapositivos</vt:lpstr>
      <vt:lpstr>Porque a vacinação é um investimento importante?</vt:lpstr>
      <vt:lpstr>A vacinação gera ganhos econômicos grandes</vt:lpstr>
      <vt:lpstr>A imunização fortalece as perspetivas educativas  das crianças e o seu desenvolvimento cognitivo</vt:lpstr>
      <vt:lpstr>Synthèse : La vaccination renforce  les perspectives en matière d’éducation et le développement cognitif des enfants</vt:lpstr>
      <vt:lpstr>Les avantages de la vaccination pour la santé et  l’instruction des enfants → augmentation des revenus et amélioration de la productivité à l’âge adulte</vt:lpstr>
      <vt:lpstr>Programas fortes de vacinação são uma plataforma para a preparação para pandemias (1/2)</vt:lpstr>
      <vt:lpstr>Programas fortes de vacinação são uma plataforma para a preparação para pandemias (2/2)</vt:lpstr>
      <vt:lpstr>Utilizar os dados para mostrar que a vacinação no vosso país atinge resultados económicos evidentes (e ainda há mais a fazer)</vt:lpstr>
      <vt:lpstr>O VoICE é uma fonte excelente de informações sobre o valor da imunizaçã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3</cp:revision>
  <cp:lastPrinted>2018-04-16T21:25:53Z</cp:lastPrinted>
  <dcterms:created xsi:type="dcterms:W3CDTF">2013-09-25T20:04:22Z</dcterms:created>
  <dcterms:modified xsi:type="dcterms:W3CDTF">2020-03-27T18:2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